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115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224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2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2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82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346823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0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jpeg"/><Relationship Id="rId3" Type="http://schemas.openxmlformats.org/officeDocument/2006/relationships/tags" Target="../tags/tag10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4.sv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z="4000" dirty="0"/>
              <a:t>Amanda </a:t>
            </a:r>
            <a:r>
              <a:rPr lang="en-US" sz="4000" dirty="0" err="1"/>
              <a:t>Potelwa</a:t>
            </a:r>
            <a:r>
              <a:rPr lang="en-US" dirty="0"/>
              <a:t> – Associate</a:t>
            </a:r>
            <a:endParaRPr lang="en-GH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t>1</a:t>
            </a:fld>
            <a:endParaRPr lang="en-GH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AB3386-D2B5-4488-B88B-651287F8F4C6}"/>
              </a:ext>
            </a:extLst>
          </p:cNvPr>
          <p:cNvSpPr txBox="1"/>
          <p:nvPr/>
        </p:nvSpPr>
        <p:spPr>
          <a:xfrm>
            <a:off x="742950" y="1398250"/>
            <a:ext cx="4143267" cy="433195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10 months at Pan-African Unleashed Consultancy </a:t>
            </a:r>
            <a:r>
              <a:rPr lang="en-US" sz="1200" dirty="0"/>
              <a:t>working with industry leaders in South Africa as Managing Director. Most noteworthy project involved a market analysis, business and operating model creation for a R1.2billion project to build a fresh produce market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FF0000"/>
                </a:solidFill>
              </a:rPr>
              <a:t>1.5 years at </a:t>
            </a:r>
            <a:r>
              <a:rPr lang="en-US" sz="1200" dirty="0" err="1">
                <a:solidFill>
                  <a:srgbClr val="FF0000"/>
                </a:solidFill>
              </a:rPr>
              <a:t>Babban</a:t>
            </a:r>
            <a:r>
              <a:rPr lang="en-US" sz="1200" dirty="0">
                <a:solidFill>
                  <a:srgbClr val="FF0000"/>
                </a:solidFill>
              </a:rPr>
              <a:t> </a:t>
            </a:r>
            <a:r>
              <a:rPr lang="en-US" sz="1200" dirty="0" err="1">
                <a:solidFill>
                  <a:srgbClr val="FF0000"/>
                </a:solidFill>
              </a:rPr>
              <a:t>Gona</a:t>
            </a:r>
            <a:r>
              <a:rPr lang="en-US" sz="1200" dirty="0"/>
              <a:t>, a globally recognized agribusiness in Nigeria working with 20,000 farmers and currently Nigeria’s largest maize producer. As Head of Corporate Finance, led the $20 million debt fundraise, initiated the $40 million fundraise &amp; oversaw the short-term liquidity management of the organization.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FF0000"/>
                </a:solidFill>
              </a:rPr>
              <a:t>2 years at McKinsey and Company, Johannesburg </a:t>
            </a:r>
            <a:r>
              <a:rPr lang="en-US" sz="1200" dirty="0"/>
              <a:t>with a strong focus on African markets. Projects included: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ata and Analytics Strategy for a major Kenyan bank (with focus on data governance and use case testing on Business Intelligence tools)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Org. Strategy and Structure redesign for South African DFI (incl. digitization of credit functions)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Financial model creation to drive 20-year investment strategy for large SA entity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ashboard Management of country-wide implementation project for Nigerian gov. dep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5B3E89-D876-4AA6-ADED-DB1F189B341E}"/>
              </a:ext>
            </a:extLst>
          </p:cNvPr>
          <p:cNvSpPr txBox="1"/>
          <p:nvPr/>
        </p:nvSpPr>
        <p:spPr>
          <a:xfrm>
            <a:off x="7945692" y="1398250"/>
            <a:ext cx="3590369" cy="233140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Amanda holds a </a:t>
            </a:r>
            <a:r>
              <a:rPr lang="en-US" sz="1200" dirty="0">
                <a:solidFill>
                  <a:srgbClr val="FF0000"/>
                </a:solidFill>
              </a:rPr>
              <a:t>honors degree in Economic Science</a:t>
            </a:r>
            <a:r>
              <a:rPr lang="en-US" sz="1200" dirty="0">
                <a:solidFill>
                  <a:prstClr val="black"/>
                </a:solidFill>
              </a:rPr>
              <a:t>s  from the </a:t>
            </a:r>
            <a:r>
              <a:rPr lang="en-US" sz="1200" dirty="0">
                <a:solidFill>
                  <a:srgbClr val="FF0000"/>
                </a:solidFill>
              </a:rPr>
              <a:t>University of Witwatersrand </a:t>
            </a:r>
            <a:r>
              <a:rPr lang="en-US" sz="1200" dirty="0">
                <a:solidFill>
                  <a:prstClr val="black"/>
                </a:solidFill>
              </a:rPr>
              <a:t>in South Africa; she has researched ‘The Relative Performance of Low Fee Private Schools in relation to Public Schools in Gauteng, South Africa’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She also holds a </a:t>
            </a:r>
            <a:r>
              <a:rPr lang="en-US" sz="1200" dirty="0">
                <a:solidFill>
                  <a:srgbClr val="FF0000"/>
                </a:solidFill>
              </a:rPr>
              <a:t>Bachelor of Commerce degree in Economics and Finance</a:t>
            </a:r>
            <a:r>
              <a:rPr lang="en-US" sz="1200" dirty="0">
                <a:solidFill>
                  <a:prstClr val="black"/>
                </a:solidFill>
              </a:rPr>
              <a:t> from the </a:t>
            </a:r>
            <a:r>
              <a:rPr lang="en-US" sz="1200" dirty="0">
                <a:solidFill>
                  <a:srgbClr val="FF0000"/>
                </a:solidFill>
              </a:rPr>
              <a:t>University of Cape Town</a:t>
            </a:r>
            <a:r>
              <a:rPr lang="en-US" sz="1200" dirty="0">
                <a:solidFill>
                  <a:prstClr val="black"/>
                </a:solidFill>
              </a:rPr>
              <a:t>, South Africa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Amanda speaks English and Xhosa fluently and is also able to have professional conversations in Afrikaans and Zulu. She has basic knowledge of Setswana and Swahili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F92F476-1647-904E-90CD-5659456D684C}"/>
              </a:ext>
            </a:extLst>
          </p:cNvPr>
          <p:cNvSpPr txBox="1"/>
          <p:nvPr/>
        </p:nvSpPr>
        <p:spPr>
          <a:xfrm>
            <a:off x="5141843" y="4016574"/>
            <a:ext cx="2536837" cy="192360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algn="l" defTabSz="914400" hangingPunct="1">
              <a:lnSpc>
                <a:spcPct val="95000"/>
              </a:lnSpc>
              <a:defRPr sz="17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b="1" dirty="0"/>
              <a:t>Introduction</a:t>
            </a:r>
            <a:endParaRPr lang="en-US" sz="1200" dirty="0"/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/>
              <a:t>Amanda </a:t>
            </a:r>
            <a:r>
              <a:rPr lang="en-US" sz="1200" dirty="0" err="1"/>
              <a:t>Potelwa</a:t>
            </a:r>
            <a:r>
              <a:rPr lang="en-US" sz="1200" dirty="0"/>
              <a:t> is a self-driven, pan-African leader who has worked in management consulting, agribusiness and financial services. She has advised premier </a:t>
            </a:r>
            <a:r>
              <a:rPr lang="en-US" sz="1200" dirty="0" err="1"/>
              <a:t>organisations</a:t>
            </a:r>
            <a:r>
              <a:rPr lang="en-US" sz="1200" dirty="0"/>
              <a:t> across the African continent, including Kenya, Nigeria, and South Africa. She is knowledgeable on agribusiness, corporate finance, and financial services industries. 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9" name="Rectangle: Single Corner Rounded 28">
            <a:extLst>
              <a:ext uri="{FF2B5EF4-FFF2-40B4-BE49-F238E27FC236}">
                <a16:creationId xmlns:a16="http://schemas.microsoft.com/office/drawing/2014/main" id="{FAAD41B1-5CDF-4246-81AB-4EBAFEA8B139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8306CC85-AB1C-49FF-935E-3239265C862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sp>
        <p:nvSpPr>
          <p:cNvPr id="31" name="Rectangle: Single Corner Rounded 30">
            <a:extLst>
              <a:ext uri="{FF2B5EF4-FFF2-40B4-BE49-F238E27FC236}">
                <a16:creationId xmlns:a16="http://schemas.microsoft.com/office/drawing/2014/main" id="{8F9454D3-A499-4EFC-B1B3-6F00909F4DBF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0847FCDB-B2DD-4189-95C2-06A6F90D1F5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63389" y="967232"/>
            <a:ext cx="340892" cy="343274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4901D071-F9A7-41A9-B2EE-9243605AF6CB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335582" y="1040617"/>
            <a:ext cx="196505" cy="196505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962FA910-6302-4E18-81F1-6EAAEF59B7BC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7D016B35-AC5E-D242-B95A-A3F2E0D4124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3"/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953660472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09</TotalTime>
  <Words>329</Words>
  <Application>Microsoft Macintosh PowerPoint</Application>
  <PresentationFormat>Widescreen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Amanda Potelwa – Associa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541</cp:revision>
  <dcterms:created xsi:type="dcterms:W3CDTF">2020-03-25T12:28:14Z</dcterms:created>
  <dcterms:modified xsi:type="dcterms:W3CDTF">2020-10-02T10:15:18Z</dcterms:modified>
</cp:coreProperties>
</file>